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 saveSubsetFonts="1" autoCompressPictures="0">
  <p:sldMasterIdLst>
    <p:sldMasterId id="2147483662" r:id="rId1"/>
  </p:sldMasterIdLst>
  <p:notesMasterIdLst>
    <p:notesMasterId r:id="rId11"/>
  </p:notesMasterIdLst>
  <p:handoutMasterIdLst>
    <p:handoutMasterId r:id="rId12"/>
  </p:handoutMasterIdLst>
  <p:sldIdLst>
    <p:sldId id="256" r:id="rId2"/>
    <p:sldId id="2145707222" r:id="rId3"/>
    <p:sldId id="2145707223" r:id="rId4"/>
    <p:sldId id="2145707224" r:id="rId5"/>
    <p:sldId id="2145707172" r:id="rId6"/>
    <p:sldId id="2145707199" r:id="rId7"/>
    <p:sldId id="2145707219" r:id="rId8"/>
    <p:sldId id="2145707221" r:id="rId9"/>
    <p:sldId id="2145707225" r:id="rId10"/>
  </p:sldIdLst>
  <p:sldSz cx="9144000" cy="5143500" type="screen16x9"/>
  <p:notesSz cx="7104063" cy="10234613"/>
  <p:embeddedFontLst>
    <p:embeddedFont>
      <p:font typeface="Calibri" pitchFamily="34" charset="0"/>
      <p:regular r:id="rId13"/>
      <p:bold r:id="rId14"/>
      <p:italic r:id="rId15"/>
      <p:boldItalic r:id="rId16"/>
    </p:embeddedFont>
    <p:embeddedFont>
      <p:font typeface="Calibri Light" charset="0"/>
      <p:regular r:id="rId17"/>
      <p:italic r:id="rId18"/>
    </p:embeddedFont>
    <p:embeddedFont>
      <p:font typeface="Segoe UI Black" charset="0"/>
      <p:bold r:id="rId19"/>
      <p:boldItalic r:id="rId20"/>
    </p:embeddedFont>
    <p:embeddedFont>
      <p:font typeface="ＭＳ Ｐゴシック" pitchFamily="34" charset="-128"/>
      <p:regular r:id="rId2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597">
          <p15:clr>
            <a:srgbClr val="A4A3A4"/>
          </p15:clr>
        </p15:guide>
        <p15:guide id="2" pos="29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P 15-db1178ur" initials="H1" lastIdx="1" clrIdx="0">
    <p:extLst>
      <p:ext uri="{19B8F6BF-5375-455C-9EA6-DF929625EA0E}">
        <p15:presenceInfo xmlns:p15="http://schemas.microsoft.com/office/powerpoint/2012/main" xmlns="" userId="HP 15-db1178u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7FD7A7"/>
    <a:srgbClr val="FF7F7F"/>
    <a:srgbClr val="61A480"/>
    <a:srgbClr val="1E8896"/>
    <a:srgbClr val="38B6AA"/>
    <a:srgbClr val="55C2BF"/>
    <a:srgbClr val="48CCCC"/>
    <a:srgbClr val="29C1BD"/>
    <a:srgbClr val="2AC4C4"/>
    <a:srgbClr val="3997B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54" autoAdjust="0"/>
    <p:restoredTop sz="90541" autoAdjust="0"/>
  </p:normalViewPr>
  <p:slideViewPr>
    <p:cSldViewPr snapToGrid="0">
      <p:cViewPr>
        <p:scale>
          <a:sx n="100" d="100"/>
          <a:sy n="100" d="100"/>
        </p:scale>
        <p:origin x="-534" y="-588"/>
      </p:cViewPr>
      <p:guideLst>
        <p:guide orient="horz" pos="1597"/>
        <p:guide pos="29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3235" y="6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AA94D830-0E40-476C-81D4-2BD06ECDF96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21C86C0E-9DE5-4E55-8BA6-BB1C69A11E5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203" y="1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r">
              <a:defRPr sz="1200"/>
            </a:lvl1pPr>
          </a:lstStyle>
          <a:p>
            <a:fld id="{BFCA6556-73B0-49A2-A4AF-242E60F404F4}" type="datetimeFigureOut">
              <a:rPr lang="x-none" smtClean="0"/>
              <a:pPr/>
              <a:t>27.11.2023</a:t>
            </a:fld>
            <a:endParaRPr lang="x-none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CA40C98D-C29C-4CB2-AEA8-A9C56B8218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0755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10C4BE0A-F2E7-4155-A547-912E402EBE6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203" y="9720755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r">
              <a:defRPr sz="1200"/>
            </a:lvl1pPr>
          </a:lstStyle>
          <a:p>
            <a:fld id="{8AD79434-6D7B-4CAE-A660-64BB76BE816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xmlns="" val="33245094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1" y="1"/>
            <a:ext cx="3079145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3281" y="1"/>
            <a:ext cx="3079144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84188" y="1279525"/>
            <a:ext cx="6135687" cy="34512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10573" y="4924457"/>
            <a:ext cx="5682918" cy="4032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>
            <a:lvl1pPr marL="457200" marR="0" lvl="0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1" y="9721421"/>
            <a:ext cx="3079145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3281" y="9721421"/>
            <a:ext cx="3079144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b" anchorCtr="0">
            <a:noAutofit/>
          </a:bodyPr>
          <a:lstStyle/>
          <a:p>
            <a:pPr algn="r"/>
            <a:fld id="{00000000-1234-1234-1234-123412341234}" type="slidenum">
              <a:rPr lang="ru-RU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‹#›</a:t>
            </a:fld>
            <a:endParaRPr lang="ru-RU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85523994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65138" y="1285875"/>
            <a:ext cx="6173787" cy="3471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" name="Google Shape;43;p1:notes"/>
          <p:cNvSpPr txBox="1">
            <a:spLocks noGrp="1"/>
          </p:cNvSpPr>
          <p:nvPr>
            <p:ph type="body" idx="1"/>
          </p:nvPr>
        </p:nvSpPr>
        <p:spPr>
          <a:xfrm>
            <a:off x="575294" y="5529540"/>
            <a:ext cx="6053839" cy="256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endParaRPr sz="1600" b="1" dirty="0"/>
          </a:p>
        </p:txBody>
      </p:sp>
      <p:sp>
        <p:nvSpPr>
          <p:cNvPr id="44" name="Google Shape;44;p1:notes"/>
          <p:cNvSpPr txBox="1">
            <a:spLocks noGrp="1"/>
          </p:cNvSpPr>
          <p:nvPr>
            <p:ph type="sldNum" idx="12"/>
          </p:nvPr>
        </p:nvSpPr>
        <p:spPr>
          <a:xfrm>
            <a:off x="4023280" y="9774560"/>
            <a:ext cx="3079144" cy="516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b" anchorCtr="0">
            <a:noAutofit/>
          </a:bodyPr>
          <a:lstStyle/>
          <a:p>
            <a:pPr algn="r"/>
            <a:fld id="{00000000-1234-1234-1234-123412341234}" type="slidenum">
              <a:rPr lang="ru-RU">
                <a:solidFill>
                  <a:srgbClr val="000000"/>
                </a:solidFill>
              </a:rPr>
              <a:pPr algn="r"/>
              <a:t>0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25477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135488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477637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81072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59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63763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31667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558390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1233" name="think-cell Slide" r:id="rId4" imgW="0" imgH="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9754C58B-434D-4738-B6A6-8F6456D5B98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59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495695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59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xmlns="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523218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71052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89830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284269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41081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8649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73208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08855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07140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8DBDB7-AA23-4B72-A7FB-D7DF747DAFD6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38129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oogle Shape;55;p15"/>
          <p:cNvGrpSpPr/>
          <p:nvPr/>
        </p:nvGrpSpPr>
        <p:grpSpPr>
          <a:xfrm rot="-2700000">
            <a:off x="7323888" y="4196304"/>
            <a:ext cx="2411896" cy="674533"/>
            <a:chOff x="6913248" y="5262784"/>
            <a:chExt cx="4914893" cy="1295402"/>
          </a:xfrm>
        </p:grpSpPr>
        <p:grpSp>
          <p:nvGrpSpPr>
            <p:cNvPr id="56" name="Google Shape;56;p15"/>
            <p:cNvGrpSpPr/>
            <p:nvPr/>
          </p:nvGrpSpPr>
          <p:grpSpPr>
            <a:xfrm rot="-5400000">
              <a:off x="7499561" y="4676471"/>
              <a:ext cx="1295402" cy="2468028"/>
              <a:chOff x="464266" y="2731227"/>
              <a:chExt cx="970345" cy="1850028"/>
            </a:xfrm>
          </p:grpSpPr>
          <p:sp>
            <p:nvSpPr>
              <p:cNvPr id="57" name="Google Shape;57;p15"/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58;p15"/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59;p15"/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60;p15"/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61;p15"/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62;p15"/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63;p15"/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64;p15"/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5" name="Google Shape;65;p15"/>
            <p:cNvGrpSpPr/>
            <p:nvPr/>
          </p:nvGrpSpPr>
          <p:grpSpPr>
            <a:xfrm rot="-5400000">
              <a:off x="9946426" y="4676471"/>
              <a:ext cx="1295400" cy="2468030"/>
              <a:chOff x="464266" y="2731226"/>
              <a:chExt cx="970344" cy="1850029"/>
            </a:xfrm>
          </p:grpSpPr>
          <p:sp>
            <p:nvSpPr>
              <p:cNvPr id="66" name="Google Shape;66;p15"/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67;p15"/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68;p15"/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69;p15"/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70;p15"/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71;p15"/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72;p15"/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73;p15"/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46" name="Google Shape;46;p15"/>
          <p:cNvPicPr preferRelativeResize="0"/>
          <p:nvPr/>
        </p:nvPicPr>
        <p:blipFill rotWithShape="1">
          <a:blip r:embed="rId3">
            <a:alphaModFix/>
          </a:blip>
          <a:srcRect l="47491" t="6587" r="34903" b="8179"/>
          <a:stretch/>
        </p:blipFill>
        <p:spPr>
          <a:xfrm>
            <a:off x="0" y="1211380"/>
            <a:ext cx="1931552" cy="3932121"/>
          </a:xfrm>
          <a:custGeom>
            <a:avLst/>
            <a:gdLst/>
            <a:ahLst/>
            <a:cxnLst/>
            <a:rect l="l" t="t" r="r" b="b"/>
            <a:pathLst>
              <a:path w="1931552" h="3932121" extrusionOk="0">
                <a:moveTo>
                  <a:pt x="0" y="0"/>
                </a:moveTo>
                <a:lnTo>
                  <a:pt x="1931552" y="2249350"/>
                </a:lnTo>
                <a:lnTo>
                  <a:pt x="486531" y="3932121"/>
                </a:lnTo>
                <a:lnTo>
                  <a:pt x="0" y="3932121"/>
                </a:lnTo>
                <a:close/>
              </a:path>
            </a:pathLst>
          </a:custGeom>
          <a:solidFill>
            <a:schemeClr val="lt1"/>
          </a:solidFill>
          <a:ln w="28575" cap="flat" cmpd="sng">
            <a:solidFill>
              <a:srgbClr val="44546A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47" name="Google Shape;47;p15"/>
          <p:cNvSpPr/>
          <p:nvPr/>
        </p:nvSpPr>
        <p:spPr>
          <a:xfrm>
            <a:off x="8806563" y="4688434"/>
            <a:ext cx="283580" cy="42826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Google Shape;48;p15"/>
          <p:cNvSpPr/>
          <p:nvPr/>
        </p:nvSpPr>
        <p:spPr>
          <a:xfrm>
            <a:off x="772716" y="3644898"/>
            <a:ext cx="2543968" cy="1498602"/>
          </a:xfrm>
          <a:custGeom>
            <a:avLst/>
            <a:gdLst/>
            <a:ahLst/>
            <a:cxnLst/>
            <a:rect l="l" t="t" r="r" b="b"/>
            <a:pathLst>
              <a:path w="2543968" h="1498602" extrusionOk="0">
                <a:moveTo>
                  <a:pt x="1271984" y="0"/>
                </a:moveTo>
                <a:lnTo>
                  <a:pt x="2543968" y="1498602"/>
                </a:lnTo>
                <a:lnTo>
                  <a:pt x="0" y="1498602"/>
                </a:lnTo>
                <a:close/>
              </a:path>
            </a:pathLst>
          </a:custGeom>
          <a:solidFill>
            <a:srgbClr val="0187A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9" name="Google Shape;49;p15"/>
          <p:cNvPicPr preferRelativeResize="0"/>
          <p:nvPr/>
        </p:nvPicPr>
        <p:blipFill rotWithShape="1">
          <a:blip r:embed="rId4">
            <a:alphaModFix/>
          </a:blip>
          <a:srcRect l="8335" r="8642" b="643"/>
          <a:stretch/>
        </p:blipFill>
        <p:spPr>
          <a:xfrm>
            <a:off x="-1" y="0"/>
            <a:ext cx="4770252" cy="3231929"/>
          </a:xfrm>
          <a:custGeom>
            <a:avLst/>
            <a:gdLst/>
            <a:ahLst/>
            <a:cxnLst/>
            <a:rect l="l" t="t" r="r" b="b"/>
            <a:pathLst>
              <a:path w="4770252" h="3211138" extrusionOk="0">
                <a:moveTo>
                  <a:pt x="0" y="0"/>
                </a:moveTo>
                <a:lnTo>
                  <a:pt x="4770252" y="0"/>
                </a:lnTo>
                <a:lnTo>
                  <a:pt x="2044701" y="3211138"/>
                </a:lnTo>
                <a:lnTo>
                  <a:pt x="0" y="802151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50" name="Google Shape;50;p15"/>
          <p:cNvSpPr txBox="1"/>
          <p:nvPr/>
        </p:nvSpPr>
        <p:spPr>
          <a:xfrm>
            <a:off x="2044047" y="2667879"/>
            <a:ext cx="6864824" cy="1384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2800" b="1" dirty="0" smtClean="0">
                <a:solidFill>
                  <a:srgbClr val="44546A"/>
                </a:solidFill>
              </a:rPr>
              <a:t>Исторические </a:t>
            </a:r>
            <a:r>
              <a:rPr lang="ru-RU" sz="2800" b="1" dirty="0" smtClean="0">
                <a:solidFill>
                  <a:srgbClr val="44546A"/>
                </a:solidFill>
              </a:rPr>
              <a:t>исследования по статистике сопоставлений </a:t>
            </a:r>
            <a:r>
              <a:rPr lang="ru-RU" sz="2800" b="1" dirty="0" smtClean="0">
                <a:solidFill>
                  <a:srgbClr val="44546A"/>
                </a:solidFill>
              </a:rPr>
              <a:t>Казахстана</a:t>
            </a:r>
            <a:endParaRPr sz="2800" b="1" dirty="0">
              <a:solidFill>
                <a:srgbClr val="44546A"/>
              </a:solidFill>
            </a:endParaRPr>
          </a:p>
        </p:txBody>
      </p:sp>
      <p:sp>
        <p:nvSpPr>
          <p:cNvPr id="51" name="Google Shape;51;p15"/>
          <p:cNvSpPr txBox="1"/>
          <p:nvPr/>
        </p:nvSpPr>
        <p:spPr>
          <a:xfrm>
            <a:off x="2652362" y="4800600"/>
            <a:ext cx="5602475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900" b="1" i="0" u="none" strike="noStrike" cap="none" dirty="0">
                <a:solidFill>
                  <a:srgbClr val="44546A"/>
                </a:solidFill>
                <a:latin typeface="Arial"/>
                <a:ea typeface="Arial"/>
                <a:cs typeface="Arial"/>
                <a:sym typeface="Arial"/>
              </a:rPr>
              <a:t>г. </a:t>
            </a:r>
            <a:r>
              <a:rPr lang="ru-RU" sz="900" b="1" i="0" u="none" strike="noStrike" cap="none" dirty="0" smtClean="0">
                <a:solidFill>
                  <a:srgbClr val="44546A"/>
                </a:solidFill>
                <a:latin typeface="Arial"/>
                <a:ea typeface="Arial"/>
                <a:cs typeface="Arial"/>
                <a:sym typeface="Arial"/>
              </a:rPr>
              <a:t>Астана,</a:t>
            </a:r>
            <a:r>
              <a:rPr lang="ru-RU" sz="900" b="1" dirty="0" smtClean="0">
                <a:solidFill>
                  <a:srgbClr val="44546A"/>
                </a:solidFill>
              </a:rPr>
              <a:t> </a:t>
            </a:r>
            <a:r>
              <a:rPr lang="ru-RU" sz="900" b="1" i="0" u="none" strike="noStrike" cap="none" dirty="0">
                <a:solidFill>
                  <a:srgbClr val="44546A"/>
                </a:solidFill>
                <a:latin typeface="Arial"/>
                <a:ea typeface="Arial"/>
                <a:cs typeface="Arial"/>
                <a:sym typeface="Arial"/>
              </a:rPr>
              <a:t>2023 </a:t>
            </a:r>
            <a:r>
              <a:rPr lang="ru-RU" sz="900" b="1" i="0" u="none" strike="noStrike" cap="none" dirty="0" smtClean="0">
                <a:solidFill>
                  <a:srgbClr val="44546A"/>
                </a:solidFill>
                <a:latin typeface="Arial"/>
                <a:ea typeface="Arial"/>
                <a:cs typeface="Arial"/>
                <a:sym typeface="Arial"/>
              </a:rPr>
              <a:t>год</a:t>
            </a:r>
            <a:endParaRPr sz="900" b="1" i="0" u="none" strike="noStrike" cap="none" dirty="0">
              <a:solidFill>
                <a:srgbClr val="44546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4" name="Google Shape;54;p15"/>
          <p:cNvPicPr preferRelativeResize="0"/>
          <p:nvPr/>
        </p:nvPicPr>
        <p:blipFill rotWithShape="1">
          <a:blip r:embed="rId5">
            <a:alphaModFix/>
          </a:blip>
          <a:srcRect l="45848" t="2033" r="34903" b="1263"/>
          <a:stretch/>
        </p:blipFill>
        <p:spPr>
          <a:xfrm>
            <a:off x="14361" y="1357267"/>
            <a:ext cx="1785597" cy="3771872"/>
          </a:xfrm>
          <a:custGeom>
            <a:avLst/>
            <a:gdLst/>
            <a:ahLst/>
            <a:cxnLst/>
            <a:rect l="l" t="t" r="r" b="b"/>
            <a:pathLst>
              <a:path w="1760198" h="3771872" extrusionOk="0">
                <a:moveTo>
                  <a:pt x="0" y="0"/>
                </a:moveTo>
                <a:lnTo>
                  <a:pt x="1760198" y="2079381"/>
                </a:lnTo>
                <a:lnTo>
                  <a:pt x="327503" y="3771872"/>
                </a:lnTo>
                <a:lnTo>
                  <a:pt x="0" y="3771872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30" name="TextBox 29"/>
          <p:cNvSpPr txBox="1"/>
          <p:nvPr/>
        </p:nvSpPr>
        <p:spPr>
          <a:xfrm>
            <a:off x="5615940" y="4046220"/>
            <a:ext cx="260840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/>
              <a:t>А. </a:t>
            </a:r>
            <a:r>
              <a:rPr lang="ru-RU" sz="1100" dirty="0" err="1" smtClean="0"/>
              <a:t>Исабекова</a:t>
            </a:r>
            <a:r>
              <a:rPr lang="ru-RU" sz="1100" dirty="0" smtClean="0"/>
              <a:t> – главный эксперт </a:t>
            </a:r>
          </a:p>
          <a:p>
            <a:r>
              <a:rPr lang="ru-RU" sz="1100" dirty="0" smtClean="0"/>
              <a:t>Департамента национальных счетов</a:t>
            </a:r>
            <a:endParaRPr lang="ru-RU" sz="1100" dirty="0"/>
          </a:p>
        </p:txBody>
      </p:sp>
      <p:pic>
        <p:nvPicPr>
          <p:cNvPr id="31" name="Рисунок 30" descr="C:\Users\a.naurzbekova\Desktop\2023 НОВЫЙ ЛОГОТИП БНС\2 шаг новый вариант логотипа во всех форматах\2022 новый логотип БНС (для публикаций) рус.png"/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67655" y="346392"/>
            <a:ext cx="2706370" cy="716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a.issabekova\Searches\Desktop\Рисунок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15225" y="112028"/>
            <a:ext cx="6980235" cy="223745"/>
          </a:xfrm>
        </p:spPr>
        <p:txBody>
          <a:bodyPr>
            <a:normAutofit fontScale="90000"/>
          </a:bodyPr>
          <a:lstStyle/>
          <a:p>
            <a:r>
              <a:rPr lang="ru-RU" sz="1600" dirty="0" smtClean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Основные показатели экономического и социального развития за 1940-1980гг</a:t>
            </a:r>
            <a:r>
              <a:rPr lang="ru-RU" dirty="0" smtClean="0"/>
              <a:t>.</a:t>
            </a:r>
            <a:endParaRPr lang="ru-RU" dirty="0"/>
          </a:p>
        </p:txBody>
      </p:sp>
      <p:pic>
        <p:nvPicPr>
          <p:cNvPr id="1832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35877" y="473645"/>
            <a:ext cx="6880785" cy="4368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a.issabekova\Searches\Desktop\Рисунок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r"/>
            <a:r>
              <a:rPr lang="ru-RU" sz="1100" i="1" dirty="0" smtClean="0">
                <a:latin typeface="Arial" pitchFamily="34" charset="0"/>
                <a:cs typeface="Arial" pitchFamily="34" charset="0"/>
              </a:rPr>
              <a:t>продолжение</a:t>
            </a:r>
            <a:endParaRPr lang="ru-RU" sz="1100" i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843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87780" y="502920"/>
            <a:ext cx="6926580" cy="429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a.issabekova\Searches\Desktop\Рисунок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r"/>
            <a:r>
              <a:rPr lang="ru-RU" sz="1100" i="1" dirty="0" smtClean="0">
                <a:latin typeface="Arial" pitchFamily="34" charset="0"/>
                <a:cs typeface="Arial" pitchFamily="34" charset="0"/>
              </a:rPr>
              <a:t>продолжение</a:t>
            </a:r>
            <a:endParaRPr lang="ru-RU" sz="1100" dirty="0"/>
          </a:p>
        </p:txBody>
      </p:sp>
      <p:pic>
        <p:nvPicPr>
          <p:cNvPr id="18534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03960" y="556260"/>
            <a:ext cx="6606540" cy="4023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C:\Users\a.issabekova\Searches\Desktop\Рисунок1.png"/>
          <p:cNvPicPr>
            <a:picLocks noChangeAspect="1" noChangeArrowheads="1"/>
          </p:cNvPicPr>
          <p:nvPr/>
        </p:nvPicPr>
        <p:blipFill>
          <a:blip r:embed="rId4">
            <a:lum bright="30000"/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B84D0045-FE85-4BB3-BE9A-9209D67C87F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9" y="1589"/>
          <a:ext cx="1588" cy="1588"/>
        </p:xfrm>
        <a:graphic>
          <a:graphicData uri="http://schemas.openxmlformats.org/presentationml/2006/ole">
            <p:oleObj spid="_x0000_s23018" name="think-cell Slide" r:id="rId5" imgW="0" imgH="0" progId="">
              <p:embed/>
            </p:oleObj>
          </a:graphicData>
        </a:graphic>
      </p:graphicFrame>
      <p:sp>
        <p:nvSpPr>
          <p:cNvPr id="138" name="Rectangle 137" hidden="1">
            <a:extLst>
              <a:ext uri="{FF2B5EF4-FFF2-40B4-BE49-F238E27FC236}">
                <a16:creationId xmlns:a16="http://schemas.microsoft.com/office/drawing/2014/main" xmlns="" id="{A85C1ADC-88D6-4290-A766-C7AD7354CD8B}"/>
              </a:ext>
            </a:extLst>
          </p:cNvPr>
          <p:cNvSpPr/>
          <p:nvPr/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71" dirty="0">
              <a:solidFill>
                <a:schemeClr val="tx1"/>
              </a:solidFill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xmlns="" id="{C4F593D1-C35C-5616-0694-6ABE65205203}"/>
              </a:ext>
            </a:extLst>
          </p:cNvPr>
          <p:cNvCxnSpPr/>
          <p:nvPr/>
        </p:nvCxnSpPr>
        <p:spPr>
          <a:xfrm>
            <a:off x="0" y="369080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xmlns="" id="{F03D3060-375A-EE8A-2332-5767512C84EE}"/>
              </a:ext>
            </a:extLst>
          </p:cNvPr>
          <p:cNvSpPr txBox="1"/>
          <p:nvPr/>
        </p:nvSpPr>
        <p:spPr bwMode="auto">
          <a:xfrm>
            <a:off x="0" y="0"/>
            <a:ext cx="9144000" cy="30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/>
          <a:p>
            <a:r>
              <a:rPr lang="ru-RU" b="1" dirty="0" smtClean="0">
                <a:solidFill>
                  <a:schemeClr val="accent5"/>
                </a:solidFill>
              </a:rPr>
              <a:t>Основные показатели социально-экономического развития Казахской ССР за 1980-1990 гг.</a:t>
            </a:r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38499" y="4419600"/>
            <a:ext cx="590550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baseline="30000" dirty="0" smtClean="0"/>
              <a:t>*</a:t>
            </a:r>
            <a:r>
              <a:rPr lang="ru-RU" sz="800" i="1" dirty="0" smtClean="0"/>
              <a:t> Здесь данные по промышленности приведены в сопоставимых ценах 1982 г.; по сельскому хозяйству – в сопоставимых ценах 1983 г.; по капитальному строительству в сметных ценах на 1 января 1984 г.; производственные основные фонды всех отраслей народного хозяйства – в сопоставимых ценах 1973 г.</a:t>
            </a:r>
            <a:endParaRPr lang="ru-RU" sz="800" dirty="0" smtClean="0"/>
          </a:p>
          <a:p>
            <a:r>
              <a:rPr lang="ru-RU" sz="800" i="1" baseline="30000" dirty="0" smtClean="0"/>
              <a:t>**</a:t>
            </a:r>
            <a:r>
              <a:rPr lang="ru-RU" sz="800" i="1" dirty="0" smtClean="0"/>
              <a:t> ' Торговля и платные услуги'' данные приведены по методологии 1991 г.</a:t>
            </a:r>
            <a:endParaRPr lang="ru-RU" sz="800" dirty="0" smtClean="0"/>
          </a:p>
          <a:p>
            <a:endParaRPr lang="ru-RU" dirty="0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3337559" y="1031538"/>
          <a:ext cx="5585459" cy="3352790"/>
        </p:xfrm>
        <a:graphic>
          <a:graphicData uri="http://schemas.openxmlformats.org/drawingml/2006/table">
            <a:tbl>
              <a:tblPr/>
              <a:tblGrid>
                <a:gridCol w="2684878"/>
                <a:gridCol w="414027"/>
                <a:gridCol w="414625"/>
                <a:gridCol w="414027"/>
                <a:gridCol w="414625"/>
                <a:gridCol w="414027"/>
                <a:gridCol w="414625"/>
                <a:gridCol w="414625"/>
              </a:tblGrid>
              <a:tr h="11911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98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98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98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98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98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98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99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Валовой национальный продукт (в фактически действовавших ценах)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7,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9,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40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40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Валовой общественный продукт (в фактически действовавших ценах)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48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1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3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5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8,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71,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71,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Произведенный национальный доход (в фактически действовавших ценах)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0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3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5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5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6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8,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8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latin typeface="Calibri"/>
                          <a:ea typeface="Calibri"/>
                          <a:cs typeface="Times New Roman"/>
                        </a:rPr>
                        <a:t>Чистая продукция предприятий материального производства, млрд. рублей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7,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2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5,4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5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7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0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2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Производственные основные фонды всех отраслей народного хозяйства*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7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91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95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1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5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0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3,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02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Продукция промышленности</a:t>
                      </a:r>
                      <a:r>
                        <a:rPr lang="ru-RU" sz="600" baseline="30000">
                          <a:latin typeface="Calibri"/>
                          <a:ea typeface="Calibri"/>
                          <a:cs typeface="Times New Roman"/>
                        </a:rPr>
                        <a:t>*</a:t>
                      </a: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5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0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1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3,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4,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5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5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Производство товаров народного потребления (в розничных ценах)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2,4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3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4,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02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Продукция сельского хозяйства</a:t>
                      </a:r>
                      <a:r>
                        <a:rPr lang="ru-RU" sz="600" baseline="30000">
                          <a:latin typeface="Calibri"/>
                          <a:ea typeface="Calibri"/>
                          <a:cs typeface="Times New Roman"/>
                        </a:rPr>
                        <a:t>*</a:t>
                      </a: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4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3,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5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5,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5,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4,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5,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02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Капитальные вложения</a:t>
                      </a:r>
                      <a:r>
                        <a:rPr lang="ru-RU" sz="600" baseline="30000">
                          <a:latin typeface="Calibri"/>
                          <a:ea typeface="Calibri"/>
                          <a:cs typeface="Times New Roman"/>
                        </a:rPr>
                        <a:t>*</a:t>
                      </a: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9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,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2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3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3,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2,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02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Ввод в действие основных фондов</a:t>
                      </a:r>
                      <a:r>
                        <a:rPr lang="ru-RU" sz="600" baseline="30000">
                          <a:latin typeface="Calibri"/>
                          <a:ea typeface="Calibri"/>
                          <a:cs typeface="Times New Roman"/>
                        </a:rPr>
                        <a:t>*</a:t>
                      </a: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8,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,4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,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,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419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latin typeface="Calibri"/>
                          <a:ea typeface="Calibri"/>
                          <a:cs typeface="Times New Roman"/>
                        </a:rPr>
                        <a:t>Ввод в действие общей площади жилых домов,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latin typeface="Calibri"/>
                          <a:ea typeface="Calibri"/>
                          <a:cs typeface="Times New Roman"/>
                        </a:rPr>
                        <a:t>млн. м</a:t>
                      </a:r>
                      <a:r>
                        <a:rPr lang="ru-RU" sz="600" baseline="30000" dirty="0">
                          <a:latin typeface="Calibri"/>
                          <a:ea typeface="Calibri"/>
                          <a:cs typeface="Times New Roman"/>
                        </a:rPr>
                        <a:t>2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5,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,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8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8,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8,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7,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latin typeface="Calibri"/>
                          <a:ea typeface="Calibri"/>
                          <a:cs typeface="Times New Roman"/>
                        </a:rPr>
                        <a:t>Отправление грузов транспортом общего пользования, млн. тонн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84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97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1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06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6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4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99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Пассажирооборот транспорта общего пользования, млрд. пассажиров км.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52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latin typeface="Calibri"/>
                          <a:ea typeface="Calibri"/>
                          <a:cs typeface="Times New Roman"/>
                        </a:rPr>
                        <a:t>59,7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3,4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5,4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7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9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71,4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Прибыль по народному хозяйству (без колхозов и межхозяйственных организаций)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,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5,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7,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7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9,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1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3,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Среднегодовая численность рабочих, служащих и колхозников, тыс. человек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32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77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83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86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82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75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70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02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Денежные доходы населения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2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2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5,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7,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2,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Выплаты и льготы населению из общественных фондов потребления, млн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604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744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783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845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871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961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044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10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Потребление населением материальных благ и услуг, млн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905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308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363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455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381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861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072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15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Розничный товарооборот государственной и кооперативной торговли (в фактически действовавших ценах**, млрд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2,7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5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5,4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6,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7,3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18,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1,4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020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Платные услуги**, млн. рублей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27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55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275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22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latin typeface="Calibri"/>
                          <a:ea typeface="Calibri"/>
                          <a:cs typeface="Times New Roman"/>
                        </a:rPr>
                        <a:t>349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latin typeface="Calibri"/>
                          <a:ea typeface="Calibri"/>
                          <a:cs typeface="Times New Roman"/>
                        </a:rPr>
                        <a:t>3884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26" marR="55026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46522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a.issabekova\Searches\Desktop\Рисунок1.png"/>
          <p:cNvPicPr>
            <a:picLocks noChangeAspect="1" noChangeArrowheads="1"/>
          </p:cNvPicPr>
          <p:nvPr/>
        </p:nvPicPr>
        <p:blipFill>
          <a:blip r:embed="rId4">
            <a:lum bright="46000"/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B84D0045-FE85-4BB3-BE9A-9209D67C87F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9" y="1589"/>
          <a:ext cx="1588" cy="1588"/>
        </p:xfrm>
        <a:graphic>
          <a:graphicData uri="http://schemas.openxmlformats.org/presentationml/2006/ole">
            <p:oleObj spid="_x0000_s38067" name="think-cell Slide" r:id="rId5" imgW="0" imgH="0" progId="">
              <p:embed/>
            </p:oleObj>
          </a:graphicData>
        </a:graphic>
      </p:graphicFrame>
      <p:sp>
        <p:nvSpPr>
          <p:cNvPr id="138" name="Rectangle 137" hidden="1">
            <a:extLst>
              <a:ext uri="{FF2B5EF4-FFF2-40B4-BE49-F238E27FC236}">
                <a16:creationId xmlns:a16="http://schemas.microsoft.com/office/drawing/2014/main" xmlns="" id="{A85C1ADC-88D6-4290-A766-C7AD7354CD8B}"/>
              </a:ext>
            </a:extLst>
          </p:cNvPr>
          <p:cNvSpPr/>
          <p:nvPr/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71" dirty="0">
              <a:solidFill>
                <a:schemeClr val="tx1"/>
              </a:solidFill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xmlns="" id="{C4F593D1-C35C-5616-0694-6ABE65205203}"/>
              </a:ext>
            </a:extLst>
          </p:cNvPr>
          <p:cNvCxnSpPr/>
          <p:nvPr/>
        </p:nvCxnSpPr>
        <p:spPr>
          <a:xfrm>
            <a:off x="0" y="369080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xmlns="" id="{F03D3060-375A-EE8A-2332-5767512C84EE}"/>
              </a:ext>
            </a:extLst>
          </p:cNvPr>
          <p:cNvSpPr txBox="1"/>
          <p:nvPr/>
        </p:nvSpPr>
        <p:spPr bwMode="auto">
          <a:xfrm>
            <a:off x="0" y="0"/>
            <a:ext cx="9144000" cy="30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/>
          <a:p>
            <a:r>
              <a:rPr lang="ru-RU" b="1" dirty="0" smtClean="0">
                <a:solidFill>
                  <a:schemeClr val="accent5"/>
                </a:solidFill>
              </a:rPr>
              <a:t>Среднегодовые показатели социально-экономического развития Казахской ССР по пятилеткам</a:t>
            </a:r>
            <a:endParaRPr lang="ru-RU" dirty="0">
              <a:solidFill>
                <a:schemeClr val="accent5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779520" y="1058131"/>
          <a:ext cx="4971693" cy="4101084"/>
        </p:xfrm>
        <a:graphic>
          <a:graphicData uri="http://schemas.openxmlformats.org/drawingml/2006/table">
            <a:tbl>
              <a:tblPr/>
              <a:tblGrid>
                <a:gridCol w="2794344"/>
                <a:gridCol w="725783"/>
                <a:gridCol w="725783"/>
                <a:gridCol w="725783"/>
              </a:tblGrid>
              <a:tr h="10579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>
                          <a:latin typeface="Calibri"/>
                          <a:ea typeface="Calibri"/>
                          <a:cs typeface="Times New Roman"/>
                        </a:rPr>
                        <a:t>1976-198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>
                          <a:latin typeface="Calibri"/>
                          <a:ea typeface="Calibri"/>
                          <a:cs typeface="Times New Roman"/>
                        </a:rPr>
                        <a:t>1981-198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>
                          <a:latin typeface="Calibri"/>
                          <a:ea typeface="Calibri"/>
                          <a:cs typeface="Times New Roman"/>
                        </a:rPr>
                        <a:t>1986-199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роизведенный национальный доход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4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0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,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347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Чистая продукция предприятий материального производства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0,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47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Национальный доход, использованный на потребление и накопление 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47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Производственные основные фонды всех отраслей народного хозяйств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7,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6,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родукция промышленности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4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роизводство средств производства (группа ''А'')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роизводство предметов потребления (группа ‘’Б’’)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5,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Производство товаров народного потребления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6,5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09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2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3841"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Продукция сельского хозяйства</a:t>
                      </a:r>
                      <a:r>
                        <a:rPr lang="ru-RU" sz="800" baseline="30000" dirty="0">
                          <a:latin typeface="Calibri"/>
                          <a:ea typeface="Calibri"/>
                          <a:cs typeface="Times New Roman"/>
                        </a:rPr>
                        <a:t>*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Продукция растениеводства</a:t>
                      </a:r>
                      <a:r>
                        <a:rPr lang="ru-RU" sz="800" baseline="30000" dirty="0">
                          <a:latin typeface="Calibri"/>
                          <a:ea typeface="Calibri"/>
                          <a:cs typeface="Times New Roman"/>
                        </a:rPr>
                        <a:t>*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Продукция животноводства</a:t>
                      </a:r>
                      <a:r>
                        <a:rPr lang="ru-RU" sz="800" baseline="30000" dirty="0">
                          <a:latin typeface="Calibri"/>
                          <a:ea typeface="Calibri"/>
                          <a:cs typeface="Times New Roman"/>
                        </a:rPr>
                        <a:t>*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0,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138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-1,8</a:t>
                      </a:r>
                      <a:r>
                        <a:rPr lang="ru-RU" sz="800" baseline="30000">
                          <a:latin typeface="Calibri"/>
                          <a:ea typeface="Calibri"/>
                          <a:cs typeface="Times New Roman"/>
                        </a:rPr>
                        <a:t>**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279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,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Ввод в действие основных фондов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Капитальные вложения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5,7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Отправление грузов транспортом общего пользования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6,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0,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ассажирооборот транспорта общего пользования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рибыль по народному хозяйству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7,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,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9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роизводительность общественного труда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-0,5</a:t>
                      </a:r>
                      <a:r>
                        <a:rPr lang="ru-RU" sz="800" baseline="30000">
                          <a:latin typeface="Calibri"/>
                          <a:ea typeface="Calibri"/>
                          <a:cs typeface="Times New Roman"/>
                        </a:rPr>
                        <a:t>**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0,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Численность рабочих и служащих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4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,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-0,2</a:t>
                      </a:r>
                      <a:r>
                        <a:rPr lang="ru-RU" sz="800" baseline="30000">
                          <a:latin typeface="Calibri"/>
                          <a:ea typeface="Calibri"/>
                          <a:cs typeface="Times New Roman"/>
                        </a:rPr>
                        <a:t>**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Денежные доходы населения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8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отребление населением материальных благ и услуг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4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47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Розничный товарооборот государственной и кооперативной торговли (в сопоставимых ценах)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3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4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3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латные услуги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…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13,6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8069" name="Rectangle 181"/>
          <p:cNvSpPr>
            <a:spLocks noChangeArrowheads="1"/>
          </p:cNvSpPr>
          <p:nvPr/>
        </p:nvSpPr>
        <p:spPr bwMode="auto">
          <a:xfrm>
            <a:off x="1144481" y="4698086"/>
            <a:ext cx="680866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700" b="0" i="1" u="none" strike="noStrike" cap="none" normalizeH="0" baseline="3000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*</a:t>
            </a:r>
            <a:r>
              <a:rPr kumimoji="0" lang="ru-RU" sz="7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 Исходя из среднегодовых объемов производства.</a:t>
            </a: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700" b="0" i="1" u="none" strike="noStrike" cap="none" normalizeH="0" baseline="3000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**</a:t>
            </a:r>
            <a:r>
              <a:rPr kumimoji="0" lang="ru-RU" sz="7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 Снижение.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4855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a.issabekova\Searches\Desktop\Рисунок1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B84D0045-FE85-4BB3-BE9A-9209D67C87F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9" y="1589"/>
          <a:ext cx="1588" cy="1588"/>
        </p:xfrm>
        <a:graphic>
          <a:graphicData uri="http://schemas.openxmlformats.org/presentationml/2006/ole">
            <p:oleObj spid="_x0000_s80898" name="think-cell Slide" r:id="rId5" imgW="0" imgH="0" progId="">
              <p:embed/>
            </p:oleObj>
          </a:graphicData>
        </a:graphic>
      </p:graphicFrame>
      <p:sp>
        <p:nvSpPr>
          <p:cNvPr id="138" name="Rectangle 137" hidden="1">
            <a:extLst>
              <a:ext uri="{FF2B5EF4-FFF2-40B4-BE49-F238E27FC236}">
                <a16:creationId xmlns="" xmlns:a16="http://schemas.microsoft.com/office/drawing/2014/main" id="{A85C1ADC-88D6-4290-A766-C7AD7354CD8B}"/>
              </a:ext>
            </a:extLst>
          </p:cNvPr>
          <p:cNvSpPr/>
          <p:nvPr/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71" dirty="0">
              <a:solidFill>
                <a:schemeClr val="tx1"/>
              </a:solidFill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="" xmlns:a16="http://schemas.microsoft.com/office/drawing/2014/main" id="{C4F593D1-C35C-5616-0694-6ABE65205203}"/>
              </a:ext>
            </a:extLst>
          </p:cNvPr>
          <p:cNvCxnSpPr/>
          <p:nvPr/>
        </p:nvCxnSpPr>
        <p:spPr>
          <a:xfrm>
            <a:off x="0" y="369080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="" xmlns:a16="http://schemas.microsoft.com/office/drawing/2014/main" id="{F03D3060-375A-EE8A-2332-5767512C84EE}"/>
              </a:ext>
            </a:extLst>
          </p:cNvPr>
          <p:cNvSpPr txBox="1"/>
          <p:nvPr/>
        </p:nvSpPr>
        <p:spPr bwMode="auto">
          <a:xfrm>
            <a:off x="3101340" y="0"/>
            <a:ext cx="4655820" cy="33855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/>
          <a:p>
            <a:r>
              <a:rPr lang="ru-RU" sz="1600" b="1" dirty="0" smtClean="0">
                <a:solidFill>
                  <a:schemeClr val="accent5"/>
                </a:solidFill>
              </a:rPr>
              <a:t>Денежные доходы и расходы населения</a:t>
            </a:r>
            <a:endParaRPr lang="ru-RU" sz="1600" dirty="0">
              <a:solidFill>
                <a:schemeClr val="accent5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680461" y="2171700"/>
          <a:ext cx="5135881" cy="2506980"/>
        </p:xfrm>
        <a:graphic>
          <a:graphicData uri="http://schemas.openxmlformats.org/drawingml/2006/table">
            <a:tbl>
              <a:tblPr/>
              <a:tblGrid>
                <a:gridCol w="2574552"/>
                <a:gridCol w="483176"/>
                <a:gridCol w="483176"/>
                <a:gridCol w="483727"/>
                <a:gridCol w="483176"/>
                <a:gridCol w="628074"/>
              </a:tblGrid>
              <a:tr h="2752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>
                          <a:latin typeface="Calibri"/>
                          <a:ea typeface="Calibri"/>
                          <a:cs typeface="Times New Roman"/>
                        </a:rPr>
                        <a:t>198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>
                          <a:latin typeface="Calibri"/>
                          <a:ea typeface="Calibri"/>
                          <a:cs typeface="Times New Roman"/>
                        </a:rPr>
                        <a:t>1987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>
                          <a:latin typeface="Calibri"/>
                          <a:ea typeface="Calibri"/>
                          <a:cs typeface="Times New Roman"/>
                        </a:rPr>
                        <a:t>198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>
                          <a:latin typeface="Calibri"/>
                          <a:ea typeface="Calibri"/>
                          <a:cs typeface="Times New Roman"/>
                        </a:rPr>
                        <a:t>198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>
                          <a:latin typeface="Calibri"/>
                          <a:ea typeface="Calibri"/>
                          <a:cs typeface="Times New Roman"/>
                        </a:rPr>
                        <a:t>199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9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Доходы 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1987,5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2877,0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4994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7770,4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2483,4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5579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Расходы на товары и услуги, платежи в финансово-кредитную систему-всего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20142,6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1044,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2589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4621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8082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8972">
                <a:tc gridSpan="6">
                  <a:txBody>
                    <a:bodyPr/>
                    <a:lstStyle/>
                    <a:p>
                      <a:pPr marL="1797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в том числе: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8972">
                <a:tc>
                  <a:txBody>
                    <a:bodyPr/>
                    <a:lstStyle/>
                    <a:p>
                      <a:pPr marL="10795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на товары и услуги(потребительские расходы)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7593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8375,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9670,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1365,7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4153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78972">
                <a:tc>
                  <a:txBody>
                    <a:bodyPr/>
                    <a:lstStyle/>
                    <a:p>
                      <a:pPr marL="10795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латежи в финансово-кредитную систему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2548,7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668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919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255,6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928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579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Превышение доходов над потребительскими расходами и платежами в финансово-кредитную систему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844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1832,9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2404,8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Calibri"/>
                          <a:ea typeface="Calibri"/>
                          <a:cs typeface="Times New Roman"/>
                        </a:rPr>
                        <a:t>3149,1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Calibri"/>
                          <a:ea typeface="Calibri"/>
                          <a:cs typeface="Times New Roman"/>
                        </a:rPr>
                        <a:t>4400,6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54524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575" y="0"/>
            <a:ext cx="8794113" cy="478086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ru-RU" sz="1300" b="1" dirty="0" smtClean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Потребление основных продуктов питания в расчете на душу населения</a:t>
            </a:r>
            <a:r>
              <a:rPr lang="ru-RU" sz="1300" dirty="0" smtClean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300" dirty="0" smtClean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</a:br>
            <a:r>
              <a:rPr lang="ru-RU" sz="1300" dirty="0" smtClean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 (в целом по Казахской ССР)</a:t>
            </a:r>
            <a:endParaRPr lang="ru-RU" dirty="0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2275" name="Picture 3" descr="C:\Users\a.issabekova\Searches\Desktop\Рисунок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6220" y="525780"/>
            <a:ext cx="7551420" cy="4434840"/>
          </a:xfrm>
          <a:prstGeom prst="rect">
            <a:avLst/>
          </a:prstGeom>
          <a:noFill/>
        </p:spPr>
      </p:pic>
      <p:pic>
        <p:nvPicPr>
          <p:cNvPr id="182274" name="Диаграмма 1"/>
          <p:cNvPicPr>
            <a:picLocks noChangeArrowheads="1"/>
          </p:cNvPicPr>
          <p:nvPr/>
        </p:nvPicPr>
        <p:blipFill>
          <a:blip r:embed="rId3"/>
          <a:srcRect l="-3511" t="-13297" r="-1830" b="-9615"/>
          <a:stretch>
            <a:fillRect/>
          </a:stretch>
        </p:blipFill>
        <p:spPr bwMode="auto">
          <a:xfrm>
            <a:off x="3175621" y="1538287"/>
            <a:ext cx="4572000" cy="360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6370" name="Picture 2" descr="C:\Users\a.issabekova\Searches\Desktop\Рисунок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4892040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5425440" y="3787140"/>
            <a:ext cx="2301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5"/>
                </a:solidFill>
              </a:rPr>
              <a:t>Спасибо за внимание!</a:t>
            </a:r>
            <a:endParaRPr lang="ru-RU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35659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97</TotalTime>
  <Words>736</Words>
  <Application>Microsoft Office PowerPoint</Application>
  <PresentationFormat>Экран (16:9)</PresentationFormat>
  <Paragraphs>326</Paragraphs>
  <Slides>9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Times New Roman</vt:lpstr>
      <vt:lpstr>Segoe UI Black</vt:lpstr>
      <vt:lpstr>ＭＳ Ｐゴシック</vt:lpstr>
      <vt:lpstr>Office Theme</vt:lpstr>
      <vt:lpstr>think-cell Slide</vt:lpstr>
      <vt:lpstr>Слайд 0</vt:lpstr>
      <vt:lpstr>Основные показатели экономического и социального развития за 1940-1980гг.</vt:lpstr>
      <vt:lpstr>продолжение</vt:lpstr>
      <vt:lpstr>продолжение</vt:lpstr>
      <vt:lpstr>Слайд 4</vt:lpstr>
      <vt:lpstr>Слайд 5</vt:lpstr>
      <vt:lpstr>Слайд 6</vt:lpstr>
      <vt:lpstr>Потребление основных продуктов питания в расчете на душу населения  (в целом по Казахской ССР)</vt:lpstr>
      <vt:lpstr>Слайд 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Ансар</dc:creator>
  <cp:lastModifiedBy>Айгерим</cp:lastModifiedBy>
  <cp:revision>1064</cp:revision>
  <cp:lastPrinted>2022-04-20T10:37:25Z</cp:lastPrinted>
  <dcterms:modified xsi:type="dcterms:W3CDTF">2023-11-27T05:57:23Z</dcterms:modified>
</cp:coreProperties>
</file>